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3"/>
    <p:sldMasterId id="2147483664" r:id="rId4"/>
    <p:sldMasterId id="2147484885" r:id="rId5"/>
  </p:sldMasterIdLst>
  <p:notesMasterIdLst>
    <p:notesMasterId r:id="rId12"/>
  </p:notesMasterIdLst>
  <p:sldIdLst>
    <p:sldId id="967" r:id="rId6"/>
    <p:sldId id="968" r:id="rId7"/>
    <p:sldId id="969" r:id="rId8"/>
    <p:sldId id="970" r:id="rId9"/>
    <p:sldId id="971" r:id="rId10"/>
    <p:sldId id="972" r:id="rId11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E9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266" autoAdjust="0"/>
    <p:restoredTop sz="94830" autoAdjust="0"/>
  </p:normalViewPr>
  <p:slideViewPr>
    <p:cSldViewPr>
      <p:cViewPr>
        <p:scale>
          <a:sx n="280" d="100"/>
          <a:sy n="280" d="100"/>
        </p:scale>
        <p:origin x="-2720" y="-1384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4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3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72421" cy="457512"/>
          </a:xfrm>
          <a:prstGeom prst="rect">
            <a:avLst/>
          </a:prstGeom>
        </p:spPr>
        <p:txBody>
          <a:bodyPr vert="horz" lIns="91421" tIns="45712" rIns="91421" bIns="4571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028" y="0"/>
            <a:ext cx="2972421" cy="457512"/>
          </a:xfrm>
          <a:prstGeom prst="rect">
            <a:avLst/>
          </a:prstGeom>
        </p:spPr>
        <p:txBody>
          <a:bodyPr vert="horz" lIns="91421" tIns="45712" rIns="91421" bIns="4571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C6284E5-EE90-46F1-93ED-722281E760C7}" type="datetimeFigureOut">
              <a:rPr lang="en-AU"/>
              <a:pPr>
                <a:defRPr/>
              </a:pPr>
              <a:t>9/1/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70412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1" tIns="45712" rIns="91421" bIns="45712" rtlCol="0" anchor="ctr"/>
          <a:lstStyle/>
          <a:p>
            <a:pPr lvl="0"/>
            <a:endParaRPr lang="en-AU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6422" y="4344026"/>
            <a:ext cx="5485158" cy="4114488"/>
          </a:xfrm>
          <a:prstGeom prst="rect">
            <a:avLst/>
          </a:prstGeom>
        </p:spPr>
        <p:txBody>
          <a:bodyPr vert="horz" lIns="91421" tIns="45712" rIns="91421" bIns="45712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684927"/>
            <a:ext cx="2972421" cy="457512"/>
          </a:xfrm>
          <a:prstGeom prst="rect">
            <a:avLst/>
          </a:prstGeom>
        </p:spPr>
        <p:txBody>
          <a:bodyPr vert="horz" lIns="91421" tIns="45712" rIns="91421" bIns="4571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028" y="8684927"/>
            <a:ext cx="2972421" cy="457512"/>
          </a:xfrm>
          <a:prstGeom prst="rect">
            <a:avLst/>
          </a:prstGeom>
        </p:spPr>
        <p:txBody>
          <a:bodyPr vert="horz" lIns="91421" tIns="45712" rIns="91421" bIns="45712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A5CDB1C8-EB49-497A-B45C-7FC7882FF3BB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396590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7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10" Type="http://schemas.openxmlformats.org/officeDocument/2006/relationships/oleObject" Target="../embeddings/oleObject2.bin"/><Relationship Id="rId4" Type="http://schemas.openxmlformats.org/officeDocument/2006/relationships/tags" Target="../tags/tag6.xml"/><Relationship Id="rId9" Type="http://schemas.openxmlformats.org/officeDocument/2006/relationships/image" Target="../media/image7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7.jpeg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611188" y="1538288"/>
            <a:ext cx="7920037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21460" y="1718771"/>
            <a:ext cx="7936740" cy="450061"/>
          </a:xfrm>
          <a:prstGeom prst="rect">
            <a:avLst/>
          </a:prstGeom>
        </p:spPr>
        <p:txBody>
          <a:bodyPr anchor="t"/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1460" y="2176548"/>
            <a:ext cx="6400800" cy="450060"/>
          </a:xfrm>
        </p:spPr>
        <p:txBody>
          <a:bodyPr/>
          <a:lstStyle>
            <a:lvl1pPr marL="0" indent="0" algn="l">
              <a:buNone/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AU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520700" y="2708275"/>
            <a:ext cx="3690938" cy="365125"/>
          </a:xfrm>
        </p:spPr>
        <p:txBody>
          <a:bodyPr/>
          <a:lstStyle>
            <a:lvl1pPr algn="l"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DECB3554-C393-41D4-ABDB-78260DA4DE37}" type="datetime3">
              <a:rPr lang="en-AU"/>
              <a:pPr>
                <a:defRPr/>
              </a:pPr>
              <a:t>9 January, 2020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2692053"/>
      </p:ext>
    </p:extLst>
  </p:cSld>
  <p:clrMapOvr>
    <a:masterClrMapping/>
  </p:clrMapOvr>
  <p:hf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50825" y="873125"/>
            <a:ext cx="8569325" cy="107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D203D1-3A79-4C93-B4CC-15CC2BA2AF3B}" type="datetime1">
              <a:rPr lang="en-AU"/>
              <a:pPr>
                <a:defRPr/>
              </a:pPr>
              <a:t>9/1/20</a:t>
            </a:fld>
            <a:endParaRPr lang="en-AU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1A4F89-6EB8-4E6A-8C9E-8C0247F6AE5D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257900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lide Image/Video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41313" y="900113"/>
            <a:ext cx="8461375" cy="88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0"/>
            <a:ext cx="9144000" cy="6254496"/>
          </a:xfrm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34988" indent="0">
              <a:buNone/>
              <a:defRPr/>
            </a:lvl3pPr>
            <a:lvl4pPr marL="801688" indent="0">
              <a:buNone/>
              <a:defRPr/>
            </a:lvl4pPr>
            <a:lvl5pPr marL="10779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6845C7-50A2-40C8-8A61-CCA2354D6164}" type="datetime1">
              <a:rPr lang="en-AU"/>
              <a:pPr>
                <a:defRPr/>
              </a:pPr>
              <a:t>9/1/20</a:t>
            </a:fld>
            <a:endParaRPr lang="en-A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F9F8B3-0924-47AD-972F-A9E433AC69B3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626022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875" y="179388"/>
            <a:ext cx="8459788" cy="7207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3"/>
          </p:nvPr>
        </p:nvSpPr>
        <p:spPr>
          <a:xfrm>
            <a:off x="341436" y="1268413"/>
            <a:ext cx="8371116" cy="4681537"/>
          </a:xfrm>
        </p:spPr>
        <p:txBody>
          <a:bodyPr rtlCol="0">
            <a:noAutofit/>
          </a:bodyPr>
          <a:lstStyle/>
          <a:p>
            <a:pPr lvl="0"/>
            <a:r>
              <a:rPr lang="en-US" altLang="en-US" noProof="0"/>
              <a:t>Click icon to add table</a:t>
            </a:r>
            <a:endParaRPr lang="en-AU" alt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4131D6-EFC4-4EE0-BD2C-8AE851085860}" type="datetime1">
              <a:rPr lang="en-AU"/>
              <a:pPr>
                <a:defRPr/>
              </a:pPr>
              <a:t>9/1/20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AF2E9D-65F9-443D-A9DC-E19BF87F93BA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915722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titl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2" t="20285" r="39177" b="69594"/>
          <a:stretch>
            <a:fillRect/>
          </a:stretch>
        </p:blipFill>
        <p:spPr bwMode="auto">
          <a:xfrm>
            <a:off x="215900" y="0"/>
            <a:ext cx="8686800" cy="109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 descr="amcorlogo_conten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66100" y="6064250"/>
            <a:ext cx="769938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Rectangle 8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43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875" y="179388"/>
            <a:ext cx="8459788" cy="720725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710172" y="6124575"/>
            <a:ext cx="1709928" cy="731520"/>
          </a:xfrm>
        </p:spPr>
        <p:txBody>
          <a:bodyPr rtlCol="0">
            <a:normAutofit/>
          </a:bodyPr>
          <a:lstStyle>
            <a:lvl1pPr>
              <a:buNone/>
              <a:defRPr/>
            </a:lvl1pPr>
          </a:lstStyle>
          <a:p>
            <a:pPr lvl="0"/>
            <a:endParaRPr lang="en-US" altLang="en-US" noProof="0" dirty="0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67797C-6121-4F9E-958F-4C72E8E8F4E3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Draft/Privileged and Confidential/Prepared for Couns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840895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title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050" y="-2189163"/>
            <a:ext cx="14668500" cy="10791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 descr="amcorlogo_conten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66100" y="6064250"/>
            <a:ext cx="769938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Rectangle 8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67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3425" y="539750"/>
            <a:ext cx="8089900" cy="4730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33425" y="1508125"/>
            <a:ext cx="8089900" cy="4479925"/>
          </a:xfrm>
        </p:spPr>
        <p:txBody>
          <a:bodyPr/>
          <a:lstStyle/>
          <a:p>
            <a:pPr lvl="0"/>
            <a:endParaRPr lang="en-AU" altLang="en-US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 Draft/Privileged and Confidential/Prepared for Counsel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Slide </a:t>
            </a:r>
            <a:fld id="{11B7A543-355B-4F81-A90C-C32EF8F1F984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500806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Mixe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000" y="180000"/>
            <a:ext cx="8460000" cy="72000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439577-3D58-4C64-9790-ADEB14A809C9}" type="datetime1">
              <a:rPr lang="en-AU"/>
              <a:pPr>
                <a:defRPr/>
              </a:pPr>
              <a:t>9/1/20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392637-9F9B-45AE-BEC3-8FC850975D40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596502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Mixe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000" y="180000"/>
            <a:ext cx="8460000" cy="72000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0000" y="1260000"/>
            <a:ext cx="4140000" cy="4680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0000" y="1260000"/>
            <a:ext cx="4140000" cy="4680000"/>
          </a:xfrm>
          <a:noFill/>
          <a:ln>
            <a:noFill/>
          </a:ln>
        </p:spPr>
        <p:txBody>
          <a:bodyPr/>
          <a:lstStyle>
            <a:lvl1pPr algn="l" defTabSz="914400" rtl="0" eaLnBrk="1" fontAlgn="base" latinLnBrk="0" hangingPunct="1">
              <a:spcBef>
                <a:spcPct val="20000"/>
              </a:spcBef>
              <a:buClr>
                <a:schemeClr val="bg2"/>
              </a:buClr>
              <a:buFont typeface="Arial" charset="0"/>
              <a:buNone/>
              <a:defRPr lang="en-US" altLang="en-US" sz="1800" b="1" kern="1200" baseline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fontAlgn="base" latinLnBrk="0" hangingPunct="1">
              <a:spcBef>
                <a:spcPct val="20000"/>
              </a:spcBef>
              <a:buClr>
                <a:schemeClr val="bg2"/>
              </a:buClr>
              <a:buFont typeface="Arial" charset="0"/>
              <a:buNone/>
              <a:defRPr lang="en-US" altLang="en-US" sz="1800" b="0" kern="1200" baseline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fontAlgn="base" latinLnBrk="0" hangingPunct="1">
              <a:spcBef>
                <a:spcPct val="20000"/>
              </a:spcBef>
              <a:buClr>
                <a:schemeClr val="bg2"/>
              </a:buClr>
              <a:buFont typeface="Arial" charset="0"/>
              <a:buChar char="•"/>
              <a:defRPr lang="en-US" altLang="en-US" sz="1800" b="0" kern="1200" baseline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fontAlgn="base" latinLnBrk="0" hangingPunct="1">
              <a:spcBef>
                <a:spcPct val="20000"/>
              </a:spcBef>
              <a:buClr>
                <a:schemeClr val="bg2"/>
              </a:buClr>
              <a:buFont typeface="Arial" charset="0"/>
              <a:buChar char="•"/>
              <a:defRPr lang="en-US" altLang="en-US" sz="1400" b="0" kern="1200" baseline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fontAlgn="base" latinLnBrk="0" hangingPunct="1">
              <a:spcBef>
                <a:spcPct val="20000"/>
              </a:spcBef>
              <a:buClr>
                <a:schemeClr val="bg2"/>
              </a:buClr>
              <a:buFont typeface="Arial" charset="0"/>
              <a:buChar char="•"/>
              <a:defRPr lang="en-AU" altLang="en-US" sz="1400" b="0" kern="1200" baseline="0" dirty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565F05-34E9-4CC6-ADFC-0D598AB45140}" type="datetime1">
              <a:rPr lang="en-AU"/>
              <a:pPr>
                <a:defRPr/>
              </a:pPr>
              <a:t>9/1/20</a:t>
            </a:fld>
            <a:endParaRPr lang="en-A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D9FD29-21EC-450A-B2A1-032B2FF92FB2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01069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Mixe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000" y="180000"/>
            <a:ext cx="846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0000" y="1260000"/>
            <a:ext cx="4140000" cy="630000"/>
          </a:xfrm>
        </p:spPr>
        <p:txBody>
          <a:bodyPr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0000" y="1980000"/>
            <a:ext cx="4140000" cy="3960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90000" y="1260000"/>
            <a:ext cx="4140000" cy="630000"/>
          </a:xfrm>
        </p:spPr>
        <p:txBody>
          <a:bodyPr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90000" y="1980000"/>
            <a:ext cx="4140000" cy="3960000"/>
          </a:xfrm>
          <a:noFill/>
          <a:ln>
            <a:noFill/>
          </a:ln>
        </p:spPr>
        <p:txBody>
          <a:bodyPr/>
          <a:lstStyle>
            <a:lvl1pPr algn="l" defTabSz="914400" rtl="0" eaLnBrk="1" fontAlgn="base" latinLnBrk="0" hangingPunct="1">
              <a:spcBef>
                <a:spcPct val="20000"/>
              </a:spcBef>
              <a:buClr>
                <a:schemeClr val="bg2"/>
              </a:buClr>
              <a:buFont typeface="Arial" charset="0"/>
              <a:buNone/>
              <a:defRPr lang="en-US" altLang="en-US" sz="1800" b="1" kern="1200" baseline="0" dirty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fontAlgn="base" latinLnBrk="0" hangingPunct="1">
              <a:spcBef>
                <a:spcPts val="600"/>
              </a:spcBef>
              <a:buClr>
                <a:schemeClr val="bg2"/>
              </a:buClr>
              <a:buFont typeface="Arial" charset="0"/>
              <a:buNone/>
              <a:defRPr lang="en-US" altLang="en-US" sz="1600" b="0" kern="1200" baseline="0" dirty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fontAlgn="base" latinLnBrk="0" hangingPunct="1">
              <a:spcBef>
                <a:spcPct val="20000"/>
              </a:spcBef>
              <a:buClr>
                <a:schemeClr val="bg2"/>
              </a:buClr>
              <a:buFont typeface="Arial" charset="0"/>
              <a:buChar char="•"/>
              <a:defRPr lang="en-US" altLang="en-US" sz="1600" b="0" kern="1200" baseline="0" dirty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fontAlgn="base" latinLnBrk="0" hangingPunct="1">
              <a:spcBef>
                <a:spcPct val="20000"/>
              </a:spcBef>
              <a:buClr>
                <a:schemeClr val="bg2"/>
              </a:buClr>
              <a:buFont typeface="Arial" charset="0"/>
              <a:buChar char="•"/>
              <a:defRPr lang="en-US" altLang="en-US" sz="1400" b="0" kern="1200" baseline="0" dirty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fontAlgn="base" latinLnBrk="0" hangingPunct="1">
              <a:spcBef>
                <a:spcPct val="20000"/>
              </a:spcBef>
              <a:buClr>
                <a:schemeClr val="bg2"/>
              </a:buClr>
              <a:buFont typeface="Arial" charset="0"/>
              <a:buChar char="•"/>
              <a:defRPr lang="en-AU" altLang="en-US" sz="1400" b="0" kern="1200" baseline="0" dirty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AEC154-60FA-4B43-96C2-136A1A81F750}" type="datetime1">
              <a:rPr lang="en-AU"/>
              <a:pPr>
                <a:defRPr/>
              </a:pPr>
              <a:t>9/1/20</a:t>
            </a:fld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2CA176-BBDA-4082-B25B-BC7261C86F0C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389598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title Mixe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000" y="180000"/>
            <a:ext cx="846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0000" y="1260000"/>
            <a:ext cx="4140000" cy="630000"/>
          </a:xfrm>
        </p:spPr>
        <p:txBody>
          <a:bodyPr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0000" y="1980000"/>
            <a:ext cx="8532000" cy="3960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B670F7-AE97-415F-9FE7-8B26A49CBA8F}" type="datetime1">
              <a:rPr lang="en-AU"/>
              <a:pPr>
                <a:defRPr/>
              </a:pPr>
              <a:t>9/1/20</a:t>
            </a:fld>
            <a:endParaRPr lang="en-A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DF9550-44CB-40DB-9793-E29BED7AE573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71165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Title_slide_No Brand h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2" r="668" b="1324"/>
          <a:stretch>
            <a:fillRect/>
          </a:stretch>
        </p:blipFill>
        <p:spPr bwMode="ltGray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 descr="BRANDMARK_POS_H_RGB_PC_150dpi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3" y="5349875"/>
            <a:ext cx="3367087" cy="150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5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422574" y="1099343"/>
            <a:ext cx="7772400" cy="1470025"/>
          </a:xfrm>
          <a:ln algn="ctr"/>
        </p:spPr>
        <p:txBody>
          <a:bodyPr/>
          <a:lstStyle>
            <a:lvl1pPr>
              <a:defRPr sz="4800" i="0">
                <a:latin typeface="Candara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67544" y="2569176"/>
            <a:ext cx="7773988" cy="1414463"/>
          </a:xfrm>
          <a:prstGeom prst="rect">
            <a:avLst/>
          </a:prstGeom>
          <a:ln algn="ctr"/>
        </p:spPr>
        <p:txBody>
          <a:bodyPr lIns="0" anchor="b"/>
          <a:lstStyle>
            <a:lvl1pPr marL="0" indent="0">
              <a:buFont typeface="Arial" charset="0"/>
              <a:buNone/>
              <a:defRPr sz="2400" i="0">
                <a:solidFill>
                  <a:schemeClr val="bg1"/>
                </a:solidFill>
                <a:latin typeface="Candara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790362440"/>
      </p:ext>
    </p:extLst>
  </p:cSld>
  <p:clrMapOvr>
    <a:masterClrMapping/>
  </p:clrMapOvr>
  <p:transition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468313" y="6300788"/>
            <a:ext cx="8064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8617" y="4614859"/>
            <a:ext cx="7772400" cy="1110161"/>
          </a:xfrm>
          <a:prstGeom prst="rect">
            <a:avLst/>
          </a:prstGeom>
        </p:spPr>
        <p:txBody>
          <a:bodyPr/>
          <a:lstStyle>
            <a:lvl1pPr algn="r">
              <a:defRPr sz="32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8617" y="5679299"/>
            <a:ext cx="7772400" cy="450000"/>
          </a:xfrm>
        </p:spPr>
        <p:txBody>
          <a:bodyPr/>
          <a:lstStyle>
            <a:lvl1pPr marL="0" indent="0" algn="r"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85600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Title_slide_No Brand h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2" r="668" b="1324"/>
          <a:stretch>
            <a:fillRect/>
          </a:stretch>
        </p:blipFill>
        <p:spPr bwMode="ltGray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 descr="BRANDMARK_POS_H_RGB_PC_150dpi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3" y="5349875"/>
            <a:ext cx="3367087" cy="150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2564904"/>
            <a:ext cx="7772400" cy="450860"/>
          </a:xfrm>
        </p:spPr>
        <p:txBody>
          <a:bodyPr anchor="t"/>
          <a:lstStyle>
            <a:lvl1pPr algn="l">
              <a:defRPr lang="en-AU" sz="2400" i="0" dirty="0">
                <a:solidFill>
                  <a:schemeClr val="bg1"/>
                </a:solidFill>
                <a:latin typeface="Candara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2634" y="1064716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en-US" sz="4800" i="0" dirty="0" smtClean="0">
                <a:solidFill>
                  <a:schemeClr val="bg1"/>
                </a:solidFill>
                <a:latin typeface="Candara" pitchFamily="34" charset="0"/>
                <a:ea typeface="+mj-ea"/>
                <a:cs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B16F64B-FA8B-483E-8D64-4CF3D5B9B561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1081272122"/>
      </p:ext>
    </p:extLst>
  </p:cSld>
  <p:clrMapOvr>
    <a:masterClrMapping/>
  </p:clrMapOvr>
  <p:transition>
    <p:wip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3050"/>
            <a:ext cx="8207375" cy="668338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68313" y="1557338"/>
            <a:ext cx="8207375" cy="4535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77000" y="6286500"/>
            <a:ext cx="1943100" cy="482600"/>
          </a:xfrm>
        </p:spPr>
        <p:txBody>
          <a:bodyPr rtlCol="0">
            <a:normAutofit/>
          </a:bodyPr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4F325B38-5D8E-447D-B1A7-B7FE1BA59393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1034108653"/>
      </p:ext>
    </p:extLst>
  </p:cSld>
  <p:clrMapOvr>
    <a:masterClrMapping/>
  </p:clrMapOvr>
  <p:transition>
    <p:wip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3050"/>
            <a:ext cx="8207375" cy="668338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68313" y="1557338"/>
            <a:ext cx="8207375" cy="4535487"/>
          </a:xfrm>
        </p:spPr>
        <p:txBody>
          <a:bodyPr>
            <a:normAutofit/>
          </a:bodyPr>
          <a:lstStyle>
            <a:lvl1pPr marL="1793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400" dirty="0" smtClean="0">
                <a:solidFill>
                  <a:schemeClr val="accent5"/>
                </a:solidFill>
                <a:latin typeface="Candara" pitchFamily="34" charset="0"/>
                <a:ea typeface="+mn-ea"/>
                <a:cs typeface="Arial" pitchFamily="34" charset="0"/>
              </a:defRPr>
            </a:lvl1pPr>
            <a:lvl2pPr marL="1793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400" dirty="0" smtClean="0">
                <a:solidFill>
                  <a:schemeClr val="accent5"/>
                </a:solidFill>
                <a:latin typeface="Candara" pitchFamily="34" charset="0"/>
                <a:ea typeface="+mn-ea"/>
                <a:cs typeface="Arial" pitchFamily="34" charset="0"/>
              </a:defRPr>
            </a:lvl2pPr>
            <a:lvl3pPr marL="1793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400" dirty="0" smtClean="0">
                <a:solidFill>
                  <a:schemeClr val="accent5"/>
                </a:solidFill>
                <a:latin typeface="Candara" pitchFamily="34" charset="0"/>
                <a:ea typeface="+mn-ea"/>
                <a:cs typeface="Arial" pitchFamily="34" charset="0"/>
              </a:defRPr>
            </a:lvl3pPr>
            <a:lvl4pPr marL="1793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400" dirty="0" smtClean="0">
                <a:solidFill>
                  <a:schemeClr val="accent5"/>
                </a:solidFill>
                <a:latin typeface="Candara" pitchFamily="34" charset="0"/>
                <a:ea typeface="+mn-ea"/>
                <a:cs typeface="Arial" pitchFamily="34" charset="0"/>
              </a:defRPr>
            </a:lvl4pPr>
            <a:lvl5pPr marL="179388" indent="-1793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400" dirty="0">
                <a:solidFill>
                  <a:schemeClr val="accent5"/>
                </a:solidFill>
                <a:latin typeface="Candara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77000" y="6286500"/>
            <a:ext cx="1943100" cy="482600"/>
          </a:xfrm>
        </p:spPr>
        <p:txBody>
          <a:bodyPr rtlCol="0">
            <a:normAutofit/>
          </a:bodyPr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1E9BC528-BA73-49AC-AFC1-8BE0C246CF60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378183412"/>
      </p:ext>
    </p:extLst>
  </p:cSld>
  <p:clrMapOvr>
    <a:masterClrMapping/>
  </p:clrMapOvr>
  <p:transition>
    <p:wip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273050"/>
            <a:ext cx="8207375" cy="668338"/>
          </a:xfrm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68313" y="1557338"/>
            <a:ext cx="8207375" cy="359494"/>
          </a:xfrm>
          <a:prstGeom prst="rect">
            <a:avLst/>
          </a:prstGeom>
        </p:spPr>
        <p:txBody>
          <a:bodyPr/>
          <a:lstStyle>
            <a:lvl1pPr>
              <a:buNone/>
              <a:defRPr lang="en-US" sz="1600" b="1" dirty="0" smtClean="0">
                <a:solidFill>
                  <a:schemeClr val="bg2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8313" y="1943100"/>
            <a:ext cx="8207375" cy="4149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477000" y="6286500"/>
            <a:ext cx="1943100" cy="482600"/>
          </a:xfrm>
        </p:spPr>
        <p:txBody>
          <a:bodyPr rtlCol="0">
            <a:normAutofit/>
          </a:bodyPr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719FD308-23F1-4BF8-A0DB-189ECCFADF44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725454764"/>
      </p:ext>
    </p:extLst>
  </p:cSld>
  <p:clrMapOvr>
    <a:masterClrMapping/>
  </p:clrMapOvr>
  <p:transition>
    <p:wip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Subtitle x 2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68313" y="1557338"/>
            <a:ext cx="8207375" cy="359494"/>
          </a:xfrm>
          <a:prstGeom prst="rect">
            <a:avLst/>
          </a:prstGeom>
        </p:spPr>
        <p:txBody>
          <a:bodyPr/>
          <a:lstStyle>
            <a:lvl1pPr>
              <a:buNone/>
              <a:defRPr lang="en-US" sz="1600" b="1" dirty="0" smtClean="0">
                <a:solidFill>
                  <a:schemeClr val="bg2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68313" y="1916510"/>
            <a:ext cx="8207375" cy="360362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68313" y="2298700"/>
            <a:ext cx="8207375" cy="37941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477000" y="6286500"/>
            <a:ext cx="1943100" cy="482600"/>
          </a:xfrm>
        </p:spPr>
        <p:txBody>
          <a:bodyPr rtlCol="0">
            <a:normAutofit/>
          </a:bodyPr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5B5242B9-A714-4EE5-8B11-09F782D6AFBA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254502431"/>
      </p:ext>
    </p:extLst>
  </p:cSld>
  <p:clrMapOvr>
    <a:masterClrMapping/>
  </p:clrMapOvr>
  <p:transition>
    <p:wip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68313" y="1557338"/>
            <a:ext cx="8207375" cy="4535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77000" y="6286500"/>
            <a:ext cx="1943100" cy="482600"/>
          </a:xfrm>
        </p:spPr>
        <p:txBody>
          <a:bodyPr rtlCol="0">
            <a:normAutofit/>
          </a:bodyPr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61AA64E2-B395-4916-A6C7-DB66F9D44B9C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935149979"/>
      </p:ext>
    </p:extLst>
  </p:cSld>
  <p:clrMapOvr>
    <a:masterClrMapping/>
  </p:clrMapOvr>
  <p:transition>
    <p:wip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77000" y="6286500"/>
            <a:ext cx="1943100" cy="482600"/>
          </a:xfrm>
        </p:spPr>
        <p:txBody>
          <a:bodyPr rtlCol="0">
            <a:normAutofit/>
          </a:bodyPr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4DFC0362-5B43-447A-A349-B731606E318A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282572509"/>
      </p:ext>
    </p:extLst>
  </p:cSld>
  <p:clrMapOvr>
    <a:masterClrMapping/>
  </p:clrMapOvr>
  <p:transition>
    <p:wip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77000" y="6286500"/>
            <a:ext cx="1943100" cy="482600"/>
          </a:xfrm>
        </p:spPr>
        <p:txBody>
          <a:bodyPr rtlCol="0">
            <a:normAutofit/>
          </a:bodyPr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73075" y="1557338"/>
            <a:ext cx="8213725" cy="4535487"/>
          </a:xfr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3C6BE78C-167E-4EC9-8ACE-932F6A58DD3D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208013593"/>
      </p:ext>
    </p:extLst>
  </p:cSld>
  <p:clrMapOvr>
    <a:masterClrMapping/>
  </p:clrMapOvr>
  <p:transition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77000" y="6286500"/>
            <a:ext cx="1943100" cy="482600"/>
          </a:xfrm>
        </p:spPr>
        <p:txBody>
          <a:bodyPr rtlCol="0">
            <a:normAutofit/>
          </a:bodyPr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3"/>
          </p:nvPr>
        </p:nvSpPr>
        <p:spPr>
          <a:xfrm>
            <a:off x="473075" y="1557338"/>
            <a:ext cx="8213725" cy="2351087"/>
          </a:xfr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8EFC7F33-EC57-4296-9767-A16E7F3614C8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529991196"/>
      </p:ext>
    </p:extLst>
  </p:cSld>
  <p:clrMapOvr>
    <a:masterClrMapping/>
  </p:clrMapOvr>
  <p:transition>
    <p:wip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 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77000" y="6286500"/>
            <a:ext cx="1943100" cy="482600"/>
          </a:xfrm>
        </p:spPr>
        <p:txBody>
          <a:bodyPr rtlCol="0">
            <a:normAutofit/>
          </a:bodyPr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SmartArt Placeholder 6"/>
          <p:cNvSpPr>
            <a:spLocks noGrp="1"/>
          </p:cNvSpPr>
          <p:nvPr>
            <p:ph type="dgm" sz="quarter" idx="13"/>
          </p:nvPr>
        </p:nvSpPr>
        <p:spPr>
          <a:xfrm>
            <a:off x="473075" y="1557338"/>
            <a:ext cx="8213725" cy="2427287"/>
          </a:xfr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SmartArt graphic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F8ABD60D-E60B-40D2-B03E-B24D3E23D160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986625509"/>
      </p:ext>
    </p:extLst>
  </p:cSld>
  <p:clrMapOvr>
    <a:masterClrMapping/>
  </p:clrMapOvr>
  <p:transition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2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468313" y="630238"/>
            <a:ext cx="8064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1436" y="810936"/>
            <a:ext cx="8299581" cy="450000"/>
          </a:xfrm>
          <a:prstGeom prst="rect">
            <a:avLst/>
          </a:prstGeom>
        </p:spPr>
        <p:txBody>
          <a:bodyPr anchor="t"/>
          <a:lstStyle>
            <a:lvl1pPr algn="r">
              <a:defRPr sz="32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1436" y="1268712"/>
            <a:ext cx="8299581" cy="510055"/>
          </a:xfrm>
        </p:spPr>
        <p:txBody>
          <a:bodyPr/>
          <a:lstStyle>
            <a:lvl1pPr marL="0" indent="0" algn="r"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78203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477000" y="6286500"/>
            <a:ext cx="1943100" cy="482600"/>
          </a:xfrm>
        </p:spPr>
        <p:txBody>
          <a:bodyPr rtlCol="0">
            <a:normAutofit/>
          </a:bodyPr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50850" y="1557338"/>
            <a:ext cx="8224838" cy="4535487"/>
          </a:xfr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59883D2-7D07-4504-8473-0B63D6FD4B0B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2928589528"/>
      </p:ext>
    </p:extLst>
  </p:cSld>
  <p:clrMapOvr>
    <a:masterClrMapping/>
  </p:clrMapOvr>
  <p:transition>
    <p:wip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550" y="1268760"/>
            <a:ext cx="4035425" cy="5191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19625" y="1268760"/>
            <a:ext cx="4044950" cy="5191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1600" b="1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463550" y="269876"/>
            <a:ext cx="7743825" cy="668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468313" y="1803400"/>
            <a:ext cx="4040187" cy="4289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610100" y="1816100"/>
            <a:ext cx="4065588" cy="4276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477000" y="6286500"/>
            <a:ext cx="1943100" cy="482600"/>
          </a:xfrm>
        </p:spPr>
        <p:txBody>
          <a:bodyPr rtlCol="0">
            <a:normAutofit/>
          </a:bodyPr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5ADEF626-6C09-47BA-9A00-5C62F924EF44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980068219"/>
      </p:ext>
    </p:extLst>
  </p:cSld>
  <p:clrMapOvr>
    <a:masterClrMapping/>
  </p:clrMapOvr>
  <p:transition>
    <p:wip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8313" y="1557338"/>
            <a:ext cx="4040187" cy="4535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477000" y="6286500"/>
            <a:ext cx="1943100" cy="482600"/>
          </a:xfrm>
        </p:spPr>
        <p:txBody>
          <a:bodyPr rtlCol="0">
            <a:normAutofit/>
          </a:bodyPr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572000" y="1557338"/>
            <a:ext cx="4103688" cy="4535487"/>
          </a:xfr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E5D91CBC-8139-476F-8338-38187A520743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70465109"/>
      </p:ext>
    </p:extLst>
  </p:cSld>
  <p:clrMapOvr>
    <a:masterClrMapping/>
  </p:clrMapOvr>
  <p:transition>
    <p:wip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89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4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 descr="topbar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31775" y="0"/>
            <a:ext cx="8661400" cy="1109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amcorlogo_conten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66100" y="6064250"/>
            <a:ext cx="769938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2386013" y="6469063"/>
            <a:ext cx="4389437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00" b="1">
                <a:solidFill>
                  <a:srgbClr val="01395A"/>
                </a:solidFill>
                <a:ea typeface="MS PGothic" pitchFamily="34" charset="-128"/>
              </a:rPr>
              <a:t>Amcor Rigid Plastic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3425" y="555625"/>
            <a:ext cx="8124825" cy="478387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33425" y="1533525"/>
            <a:ext cx="8067675" cy="4468813"/>
          </a:xfrm>
        </p:spPr>
        <p:txBody>
          <a:bodyPr rtlCol="0">
            <a:normAutofit/>
          </a:bodyPr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AU" altLang="en-US"/>
              <a:t>Slide </a:t>
            </a:r>
            <a:fld id="{D8D83E1A-AA14-41E4-AE2A-803C3EC61F4F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836264580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0399D77-69A9-4D8F-9B2D-EBD042B3CA1E}" type="slidenum">
              <a:rPr lang="en-AU" altLang="en-US"/>
              <a:pPr/>
              <a:t>‹#›</a:t>
            </a:fld>
            <a:endParaRPr lang="en-AU" altLang="en-US"/>
          </a:p>
        </p:txBody>
      </p:sp>
    </p:spTree>
    <p:extLst>
      <p:ext uri="{BB962C8B-B14F-4D97-AF65-F5344CB8AC3E}">
        <p14:creationId xmlns:p14="http://schemas.microsoft.com/office/powerpoint/2010/main" val="3498801835"/>
      </p:ext>
    </p:extLst>
  </p:cSld>
  <p:clrMapOvr>
    <a:masterClrMapping/>
  </p:clrMapOvr>
  <p:transition>
    <p:wip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5F8297C-FA73-4061-9969-6C2230804BB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09269812"/>
      </p:ext>
    </p:extLst>
  </p:cSld>
  <p:clrMapOvr>
    <a:masterClrMapping/>
  </p:clrMapOvr>
  <p:transition advClick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EA8441-0B06-41C1-9C06-606F87E1BB6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60421864"/>
      </p:ext>
    </p:extLst>
  </p:cSld>
  <p:clrMapOvr>
    <a:masterClrMapping/>
  </p:clrMapOvr>
  <p:transition advClick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468313" y="630238"/>
            <a:ext cx="8064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41436" y="810936"/>
            <a:ext cx="8299581" cy="450000"/>
          </a:xfrm>
          <a:prstGeom prst="rect">
            <a:avLst/>
          </a:prstGeom>
        </p:spPr>
        <p:txBody>
          <a:bodyPr anchor="t"/>
          <a:lstStyle>
            <a:lvl1pPr algn="l">
              <a:defRPr sz="32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341436" y="1268712"/>
            <a:ext cx="8299581" cy="510055"/>
          </a:xfrm>
        </p:spPr>
        <p:txBody>
          <a:bodyPr/>
          <a:lstStyle>
            <a:lvl1pPr marL="0" indent="0" algn="l"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6934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5689BB-F573-4878-88EA-38AE43F78D1B}" type="datetime1">
              <a:rPr lang="en-AU"/>
              <a:pPr>
                <a:defRPr/>
              </a:pPr>
              <a:t>9/1/20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58599D-D248-441C-BE35-BCFC1977433B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9446544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000" y="180000"/>
            <a:ext cx="8460000" cy="72000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0000" y="1260000"/>
            <a:ext cx="4140000" cy="4680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0000" y="1260000"/>
            <a:ext cx="4140000" cy="4680000"/>
          </a:xfrm>
          <a:noFill/>
          <a:ln>
            <a:noFill/>
          </a:ln>
        </p:spPr>
        <p:txBody>
          <a:bodyPr/>
          <a:lstStyle>
            <a:lvl1pPr algn="l" defTabSz="914400" rtl="0" eaLnBrk="1" fontAlgn="base" latinLnBrk="0" hangingPunct="1">
              <a:spcBef>
                <a:spcPct val="20000"/>
              </a:spcBef>
              <a:buClr>
                <a:schemeClr val="bg2"/>
              </a:buClr>
              <a:buFont typeface="Arial" charset="0"/>
              <a:buChar char="•"/>
              <a:defRPr lang="en-US" altLang="en-US" sz="1800" b="0" kern="1200" baseline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fontAlgn="base" latinLnBrk="0" hangingPunct="1">
              <a:spcBef>
                <a:spcPct val="20000"/>
              </a:spcBef>
              <a:buClr>
                <a:schemeClr val="bg2"/>
              </a:buClr>
              <a:buFont typeface="Arial" charset="0"/>
              <a:buChar char="•"/>
              <a:defRPr lang="en-US" altLang="en-US" sz="1800" b="0" kern="1200" baseline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fontAlgn="base" latinLnBrk="0" hangingPunct="1">
              <a:spcBef>
                <a:spcPct val="20000"/>
              </a:spcBef>
              <a:buClr>
                <a:schemeClr val="bg2"/>
              </a:buClr>
              <a:buFont typeface="Arial" charset="0"/>
              <a:buChar char="•"/>
              <a:defRPr lang="en-US" altLang="en-US" sz="1800" b="0" kern="1200" baseline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fontAlgn="base" latinLnBrk="0" hangingPunct="1">
              <a:spcBef>
                <a:spcPct val="20000"/>
              </a:spcBef>
              <a:buClr>
                <a:schemeClr val="bg2"/>
              </a:buClr>
              <a:buFont typeface="Arial" charset="0"/>
              <a:buChar char="•"/>
              <a:defRPr lang="en-US" altLang="en-US" sz="1800" b="0" kern="1200" baseline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fontAlgn="base" latinLnBrk="0" hangingPunct="1">
              <a:spcBef>
                <a:spcPct val="20000"/>
              </a:spcBef>
              <a:buClr>
                <a:schemeClr val="bg2"/>
              </a:buClr>
              <a:buFont typeface="Arial" charset="0"/>
              <a:buChar char="•"/>
              <a:defRPr lang="en-AU" altLang="en-US" sz="1800" b="0" kern="1200" baseline="0" dirty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2551B0-476C-4A57-8147-67135C15606A}" type="datetime1">
              <a:rPr lang="en-AU"/>
              <a:pPr>
                <a:defRPr/>
              </a:pPr>
              <a:t>9/1/20</a:t>
            </a:fld>
            <a:endParaRPr lang="en-A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5B5849-5C7B-4E3D-B6CA-FB3E63C44C81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672659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000" y="180000"/>
            <a:ext cx="846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0000" y="1260000"/>
            <a:ext cx="4140000" cy="630000"/>
          </a:xfrm>
        </p:spPr>
        <p:txBody>
          <a:bodyPr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0000" y="1980000"/>
            <a:ext cx="4140000" cy="3960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90000" y="1260000"/>
            <a:ext cx="4140000" cy="630000"/>
          </a:xfrm>
        </p:spPr>
        <p:txBody>
          <a:bodyPr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90000" y="1980000"/>
            <a:ext cx="4140000" cy="3960000"/>
          </a:xfrm>
          <a:noFill/>
          <a:ln>
            <a:noFill/>
          </a:ln>
        </p:spPr>
        <p:txBody>
          <a:bodyPr/>
          <a:lstStyle>
            <a:lvl1pPr algn="l" defTabSz="914400" rtl="0" eaLnBrk="1" fontAlgn="base" latinLnBrk="0" hangingPunct="1">
              <a:spcBef>
                <a:spcPct val="20000"/>
              </a:spcBef>
              <a:buClr>
                <a:schemeClr val="bg2"/>
              </a:buClr>
              <a:buFont typeface="Arial" charset="0"/>
              <a:buChar char="•"/>
              <a:defRPr lang="en-US" altLang="en-US" sz="1800" b="0" kern="1200" baseline="0" dirty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algn="l" defTabSz="914400" rtl="0" eaLnBrk="1" fontAlgn="base" latinLnBrk="0" hangingPunct="1">
              <a:spcBef>
                <a:spcPct val="20000"/>
              </a:spcBef>
              <a:buClr>
                <a:schemeClr val="bg2"/>
              </a:buClr>
              <a:buFont typeface="Arial" charset="0"/>
              <a:buChar char="•"/>
              <a:defRPr lang="en-US" altLang="en-US" sz="1600" b="0" kern="1200" baseline="0" dirty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algn="l" defTabSz="914400" rtl="0" eaLnBrk="1" fontAlgn="base" latinLnBrk="0" hangingPunct="1">
              <a:spcBef>
                <a:spcPct val="20000"/>
              </a:spcBef>
              <a:buClr>
                <a:schemeClr val="bg2"/>
              </a:buClr>
              <a:buFont typeface="Arial" charset="0"/>
              <a:buChar char="•"/>
              <a:defRPr lang="en-US" altLang="en-US" sz="1600" b="0" kern="1200" baseline="0" dirty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algn="l" defTabSz="914400" rtl="0" eaLnBrk="1" fontAlgn="base" latinLnBrk="0" hangingPunct="1">
              <a:spcBef>
                <a:spcPct val="20000"/>
              </a:spcBef>
              <a:buClr>
                <a:schemeClr val="bg2"/>
              </a:buClr>
              <a:buFont typeface="Arial" charset="0"/>
              <a:buChar char="•"/>
              <a:defRPr lang="en-US" altLang="en-US" sz="1400" b="0" kern="1200" baseline="0" dirty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algn="l" defTabSz="914400" rtl="0" eaLnBrk="1" fontAlgn="base" latinLnBrk="0" hangingPunct="1">
              <a:spcBef>
                <a:spcPct val="20000"/>
              </a:spcBef>
              <a:buClr>
                <a:schemeClr val="bg2"/>
              </a:buClr>
              <a:buFont typeface="Arial" charset="0"/>
              <a:buChar char="•"/>
              <a:defRPr lang="en-AU" altLang="en-US" sz="1400" b="0" kern="1200" baseline="0" dirty="0" smtClean="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5B9116-78C1-47AF-98C8-4D06C0DC6709}" type="datetime1">
              <a:rPr lang="en-AU"/>
              <a:pPr>
                <a:defRPr/>
              </a:pPr>
              <a:t>9/1/20</a:t>
            </a:fld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71DEF8-0283-4A54-8475-0CA7569A3985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645626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000" y="180000"/>
            <a:ext cx="8460000" cy="72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0000" y="1260000"/>
            <a:ext cx="4140000" cy="630000"/>
          </a:xfrm>
        </p:spPr>
        <p:txBody>
          <a:bodyPr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0000" y="1980000"/>
            <a:ext cx="8532000" cy="39600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12F53E-5E73-4A2D-852F-075A1F783B73}" type="datetime1">
              <a:rPr lang="en-AU"/>
              <a:pPr>
                <a:defRPr/>
              </a:pPr>
              <a:t>9/1/20</a:t>
            </a:fld>
            <a:endParaRPr lang="en-A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271492-CF9A-40C0-82DE-BAD602DAFE1A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5712131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000" y="180000"/>
            <a:ext cx="8460000" cy="72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BF62CC-E55A-4611-AFAB-F9863112B856}" type="datetime1">
              <a:rPr lang="en-AU"/>
              <a:pPr>
                <a:defRPr/>
              </a:pPr>
              <a:t>9/1/20</a:t>
            </a:fld>
            <a:endParaRPr lang="en-AU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6E9766-0B5F-479E-9516-E1A2FFE1FD21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731887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.jpe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image" Target="../media/image9.jpeg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image" Target="../media/image8.jpe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6254750"/>
            <a:ext cx="9140825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69875" y="1260475"/>
            <a:ext cx="8459788" cy="467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30925" y="6364288"/>
            <a:ext cx="19192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30790DE7-E242-4A7F-97FE-E34DD53CE343}" type="datetime1">
              <a:rPr lang="en-AU"/>
              <a:pPr>
                <a:defRPr/>
              </a:pPr>
              <a:t>9/1/20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65325" y="6364288"/>
            <a:ext cx="41227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70850" y="6364288"/>
            <a:ext cx="8255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7B596459-9D97-4D88-A2E2-C9C381D4A55D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76" r:id="rId1"/>
    <p:sldLayoutId id="2147484877" r:id="rId2"/>
    <p:sldLayoutId id="2147484878" r:id="rId3"/>
    <p:sldLayoutId id="2147484879" r:id="rId4"/>
    <p:sldLayoutId id="2147484866" r:id="rId5"/>
    <p:sldLayoutId id="2147484867" r:id="rId6"/>
    <p:sldLayoutId id="2147484868" r:id="rId7"/>
    <p:sldLayoutId id="2147484869" r:id="rId8"/>
    <p:sldLayoutId id="2147484870" r:id="rId9"/>
    <p:sldLayoutId id="2147484880" r:id="rId10"/>
    <p:sldLayoutId id="2147484881" r:id="rId11"/>
    <p:sldLayoutId id="2147484871" r:id="rId12"/>
    <p:sldLayoutId id="2147484882" r:id="rId13"/>
    <p:sldLayoutId id="2147484884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AU" altLang="en-US" sz="2400" kern="1200" dirty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9pPr>
    </p:titleStyle>
    <p:bodyStyle>
      <a:lvl1pPr marL="179388" indent="-179388" algn="l" rtl="0" eaLnBrk="0" fontAlgn="base" hangingPunct="0">
        <a:spcBef>
          <a:spcPts val="1000"/>
        </a:spcBef>
        <a:spcAft>
          <a:spcPts val="600"/>
        </a:spcAft>
        <a:buClr>
          <a:schemeClr val="bg2"/>
        </a:buClr>
        <a:buFont typeface="Arial" charset="0"/>
        <a:buChar char="•"/>
        <a:defRPr lang="en-US" altLang="en-US" kern="1200" dirty="0">
          <a:solidFill>
            <a:srgbClr val="595959"/>
          </a:solidFill>
          <a:latin typeface="+mn-lt"/>
          <a:ea typeface="+mn-ea"/>
          <a:cs typeface="+mn-cs"/>
        </a:defRPr>
      </a:lvl1pPr>
      <a:lvl2pPr marL="358775" indent="-17938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•"/>
        <a:defRPr lang="en-US" altLang="en-US" sz="1600" kern="1200" dirty="0">
          <a:solidFill>
            <a:srgbClr val="595959"/>
          </a:solidFill>
          <a:latin typeface="+mn-lt"/>
          <a:ea typeface="+mn-ea"/>
          <a:cs typeface="+mn-cs"/>
        </a:defRPr>
      </a:lvl2pPr>
      <a:lvl3pPr marL="536575" indent="-17938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•"/>
        <a:defRPr lang="en-US" altLang="en-US" sz="1600" kern="1200" dirty="0">
          <a:solidFill>
            <a:srgbClr val="595959"/>
          </a:solidFill>
          <a:latin typeface="+mn-lt"/>
          <a:ea typeface="+mn-ea"/>
          <a:cs typeface="+mn-cs"/>
        </a:defRPr>
      </a:lvl3pPr>
      <a:lvl4pPr marL="715963" indent="-17938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•"/>
        <a:defRPr lang="en-US" altLang="en-US" sz="1400" kern="1200" dirty="0">
          <a:solidFill>
            <a:srgbClr val="595959"/>
          </a:solidFill>
          <a:latin typeface="+mn-lt"/>
          <a:ea typeface="+mn-ea"/>
          <a:cs typeface="+mn-cs"/>
        </a:defRPr>
      </a:lvl4pPr>
      <a:lvl5pPr marL="893763" indent="-1778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•"/>
        <a:defRPr lang="en-AU" altLang="en-US" sz="1400" kern="1200" dirty="0">
          <a:solidFill>
            <a:srgbClr val="595959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6254750"/>
            <a:ext cx="9140825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69875" y="1260475"/>
            <a:ext cx="8459788" cy="467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30925" y="6364288"/>
            <a:ext cx="19192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86EBDCC6-7A78-422E-97F0-88E7641206F9}" type="datetime1">
              <a:rPr lang="en-AU"/>
              <a:pPr>
                <a:defRPr/>
              </a:pPr>
              <a:t>9/1/20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65325" y="6364288"/>
            <a:ext cx="41227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70850" y="6364288"/>
            <a:ext cx="8255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CB5078F5-A631-48D3-90EC-7FE0FF2720EC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360363" y="925513"/>
            <a:ext cx="8369300" cy="0"/>
          </a:xfrm>
          <a:prstGeom prst="line">
            <a:avLst/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6" name="Title Placeholder 8"/>
          <p:cNvSpPr>
            <a:spLocks noGrp="1"/>
          </p:cNvSpPr>
          <p:nvPr>
            <p:ph type="title"/>
          </p:nvPr>
        </p:nvSpPr>
        <p:spPr bwMode="auto">
          <a:xfrm>
            <a:off x="269875" y="179388"/>
            <a:ext cx="8459788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A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72" r:id="rId1"/>
    <p:sldLayoutId id="2147484873" r:id="rId2"/>
    <p:sldLayoutId id="2147484874" r:id="rId3"/>
    <p:sldLayoutId id="2147484875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AU" altLang="en-US" sz="2400" kern="1200" dirty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bg2"/>
          </a:solidFill>
          <a:latin typeface="Arial" charset="0"/>
        </a:defRPr>
      </a:lvl9pPr>
    </p:titleStyle>
    <p:bodyStyle>
      <a:lvl1pPr marL="179388" indent="-179388" algn="l" rtl="0" eaLnBrk="0" fontAlgn="base" hangingPunct="0">
        <a:spcBef>
          <a:spcPts val="1000"/>
        </a:spcBef>
        <a:spcAft>
          <a:spcPts val="600"/>
        </a:spcAft>
        <a:buClr>
          <a:schemeClr val="bg2"/>
        </a:buClr>
        <a:buFont typeface="Arial" charset="0"/>
        <a:defRPr lang="en-US" altLang="en-US" b="1" kern="1200" dirty="0">
          <a:solidFill>
            <a:srgbClr val="595959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ts val="600"/>
        </a:spcBef>
        <a:spcAft>
          <a:spcPts val="600"/>
        </a:spcAft>
        <a:buClr>
          <a:schemeClr val="bg2"/>
        </a:buClr>
        <a:buFont typeface="Arial" charset="0"/>
        <a:defRPr lang="en-US" altLang="en-US" sz="1600" kern="1200" dirty="0">
          <a:solidFill>
            <a:srgbClr val="595959"/>
          </a:solidFill>
          <a:latin typeface="+mn-lt"/>
          <a:ea typeface="+mn-ea"/>
          <a:cs typeface="+mn-cs"/>
        </a:defRPr>
      </a:lvl2pPr>
      <a:lvl3pPr marL="182563" indent="-18256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•"/>
        <a:defRPr lang="en-US" altLang="en-US" sz="1600" kern="1200" dirty="0">
          <a:solidFill>
            <a:srgbClr val="595959"/>
          </a:solidFill>
          <a:latin typeface="+mn-lt"/>
          <a:ea typeface="+mn-ea"/>
          <a:cs typeface="+mn-cs"/>
        </a:defRPr>
      </a:lvl3pPr>
      <a:lvl4pPr marL="358775" indent="-17621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•"/>
        <a:defRPr lang="en-US" altLang="en-US" sz="1400" kern="1200" dirty="0">
          <a:solidFill>
            <a:srgbClr val="595959"/>
          </a:solidFill>
          <a:latin typeface="+mn-lt"/>
          <a:ea typeface="+mn-ea"/>
          <a:cs typeface="+mn-cs"/>
        </a:defRPr>
      </a:lvl4pPr>
      <a:lvl5pPr marL="541338" indent="-18256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•"/>
        <a:defRPr lang="en-AU" altLang="en-US" sz="1400" kern="1200" dirty="0">
          <a:solidFill>
            <a:srgbClr val="595959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2" descr="Content_slide_No_Brand hr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" r="616" b="1234"/>
          <a:stretch>
            <a:fillRect/>
          </a:stretch>
        </p:blipFill>
        <p:spPr bwMode="ltGray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7" descr="BRANDMARK_POS_H_RGB_PC_150dpi.jp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23"/>
          <a:stretch>
            <a:fillRect/>
          </a:stretch>
        </p:blipFill>
        <p:spPr bwMode="auto">
          <a:xfrm>
            <a:off x="276225" y="6124575"/>
            <a:ext cx="170815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63550" y="273050"/>
            <a:ext cx="8199438" cy="66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AU" altLang="en-US"/>
          </a:p>
        </p:txBody>
      </p:sp>
      <p:sp>
        <p:nvSpPr>
          <p:cNvPr id="9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8510588" y="6275388"/>
            <a:ext cx="401637" cy="35877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01395A"/>
                </a:solidFill>
                <a:ea typeface="MS PGothic" panose="020B0600070205080204" pitchFamily="34" charset="-128"/>
              </a:defRPr>
            </a:lvl1pPr>
          </a:lstStyle>
          <a:p>
            <a:fld id="{509BDA41-1578-42B0-9D10-BA245F31B7AD}" type="slidenum">
              <a:rPr lang="en-AU" altLang="en-US"/>
              <a:pPr/>
              <a:t>‹#›</a:t>
            </a:fld>
            <a:endParaRPr lang="en-AU" altLang="en-US"/>
          </a:p>
        </p:txBody>
      </p:sp>
      <p:sp>
        <p:nvSpPr>
          <p:cNvPr id="1030" name="Text Placeholder 6"/>
          <p:cNvSpPr>
            <a:spLocks noGrp="1"/>
          </p:cNvSpPr>
          <p:nvPr>
            <p:ph type="body" idx="1"/>
          </p:nvPr>
        </p:nvSpPr>
        <p:spPr bwMode="auto">
          <a:xfrm>
            <a:off x="468313" y="1557338"/>
            <a:ext cx="82296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531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6" r:id="rId1"/>
    <p:sldLayoutId id="2147484887" r:id="rId2"/>
    <p:sldLayoutId id="2147484888" r:id="rId3"/>
    <p:sldLayoutId id="2147484889" r:id="rId4"/>
    <p:sldLayoutId id="2147484890" r:id="rId5"/>
    <p:sldLayoutId id="2147484891" r:id="rId6"/>
    <p:sldLayoutId id="2147484892" r:id="rId7"/>
    <p:sldLayoutId id="2147484893" r:id="rId8"/>
    <p:sldLayoutId id="2147484894" r:id="rId9"/>
    <p:sldLayoutId id="2147484895" r:id="rId10"/>
    <p:sldLayoutId id="2147484896" r:id="rId11"/>
    <p:sldLayoutId id="2147484897" r:id="rId12"/>
    <p:sldLayoutId id="2147484898" r:id="rId13"/>
    <p:sldLayoutId id="2147484899" r:id="rId14"/>
    <p:sldLayoutId id="2147484900" r:id="rId15"/>
    <p:sldLayoutId id="2147484901" r:id="rId16"/>
    <p:sldLayoutId id="2147484902" r:id="rId17"/>
    <p:sldLayoutId id="2147484904" r:id="rId18"/>
  </p:sldLayoutIdLst>
  <p:transition>
    <p:wip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ndara" pitchFamily="34" charset="0"/>
          <a:ea typeface="MS PGothic" pitchFamily="34" charset="-128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ndara" pitchFamily="34" charset="0"/>
          <a:ea typeface="MS PGothic" pitchFamily="34" charset="-128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ndara" pitchFamily="34" charset="0"/>
          <a:ea typeface="MS PGothic" pitchFamily="34" charset="-128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ndara" pitchFamily="34" charset="0"/>
          <a:ea typeface="MS PGothic" pitchFamily="34" charset="-128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Candara" pitchFamily="34" charset="0"/>
          <a:ea typeface="MS PGothic" pitchFamily="34" charset="-128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mcorPro SemiBold" pitchFamily="2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mcorPro SemiBold" pitchFamily="2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mcorPro SemiBold" pitchFamily="2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mcorPro SemiBold" pitchFamily="2" charset="0"/>
          <a:cs typeface="Arial" charset="0"/>
        </a:defRPr>
      </a:lvl9pPr>
    </p:titleStyle>
    <p:bodyStyle>
      <a:lvl1pPr marL="179388" indent="-17938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>
          <a:solidFill>
            <a:schemeClr val="tx1"/>
          </a:solidFill>
          <a:latin typeface="Candara" pitchFamily="34" charset="0"/>
          <a:ea typeface="MS PGothic" pitchFamily="34" charset="-128"/>
          <a:cs typeface="Arial" pitchFamily="34" charset="0"/>
        </a:defRPr>
      </a:lvl1pPr>
      <a:lvl2pPr marL="538163" indent="-17938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Courier New" panose="02070309020205020404" pitchFamily="49" charset="0"/>
        <a:buChar char="o"/>
        <a:defRPr lang="en-US" sz="1400" dirty="0">
          <a:solidFill>
            <a:schemeClr val="tx1"/>
          </a:solidFill>
          <a:latin typeface="Candara" pitchFamily="34" charset="0"/>
          <a:ea typeface="Arial" charset="0"/>
          <a:cs typeface="Arial" charset="0"/>
        </a:defRPr>
      </a:lvl2pPr>
      <a:lvl3pPr marL="896938" indent="-17938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mcorPro Book" panose="02000503000000020003" pitchFamily="2" charset="0"/>
        <a:buChar char="–"/>
        <a:defRPr sz="1400">
          <a:solidFill>
            <a:schemeClr val="tx1"/>
          </a:solidFill>
          <a:latin typeface="Candara" pitchFamily="34" charset="0"/>
          <a:ea typeface="Arial" charset="0"/>
          <a:cs typeface="Arial" pitchFamily="34" charset="0"/>
        </a:defRPr>
      </a:lvl3pPr>
      <a:lvl4pPr marL="1255713" indent="-17938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Ø"/>
        <a:defRPr lang="en-US" sz="1400" dirty="0">
          <a:solidFill>
            <a:schemeClr val="tx1"/>
          </a:solidFill>
          <a:latin typeface="Candara" pitchFamily="34" charset="0"/>
          <a:ea typeface="Arial" charset="0"/>
          <a:cs typeface="Arial" charset="0"/>
        </a:defRPr>
      </a:lvl4pPr>
      <a:lvl5pPr marL="1614488" indent="-17938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v"/>
        <a:defRPr lang="en-AU" sz="1400" dirty="0">
          <a:solidFill>
            <a:schemeClr val="tx1"/>
          </a:solidFill>
          <a:latin typeface="Candara" pitchFamily="34" charset="0"/>
          <a:ea typeface="Arial" charset="0"/>
          <a:cs typeface="Arial" charset="0"/>
        </a:defRPr>
      </a:lvl5pPr>
      <a:lvl6pPr marL="2071688" indent="-1793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mcorPro Book" pitchFamily="2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528888" indent="-1793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mcorPro Book" pitchFamily="2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986088" indent="-1793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mcorPro Book" pitchFamily="2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443288" indent="-1793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mcorPro Book" pitchFamily="2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8172D5F9-F141-43F6-BF01-13006AD9E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7922964" y="6381328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908A4B97-5A75-42D6-82D3-474B4811835F}" type="slidenum">
              <a:rPr lang="en-AU" smtClean="0">
                <a:solidFill>
                  <a:schemeClr val="bg1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AU" dirty="0">
              <a:solidFill>
                <a:schemeClr val="bg1"/>
              </a:solidFill>
            </a:endParaRPr>
          </a:p>
        </p:txBody>
      </p:sp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6674327A-F29A-494B-8557-7B86440641B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889" y="404664"/>
            <a:ext cx="7101825" cy="5487774"/>
          </a:xfrm>
          <a:prstGeom prst="rect">
            <a:avLst/>
          </a:prstGeom>
        </p:spPr>
      </p:pic>
    </p:spTree>
  </p:cSld>
  <p:clrMapOvr>
    <a:masterClrMapping/>
  </p:clrMapOvr>
  <p:transition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food&#10;&#10;Description automatically generated">
            <a:extLst>
              <a:ext uri="{FF2B5EF4-FFF2-40B4-BE49-F238E27FC236}">
                <a16:creationId xmlns:a16="http://schemas.microsoft.com/office/drawing/2014/main" id="{F30B6022-5D40-F444-BC59-034B228BC3A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889" y="404664"/>
            <a:ext cx="7101825" cy="5487774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8172D5F9-F141-43F6-BF01-13006AD9E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7922964" y="6381328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908A4B97-5A75-42D6-82D3-474B4811835F}" type="slidenum">
              <a:rPr lang="en-AU" smtClean="0">
                <a:solidFill>
                  <a:schemeClr val="bg1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A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5770090"/>
      </p:ext>
    </p:extLst>
  </p:cSld>
  <p:clrMapOvr>
    <a:masterClrMapping/>
  </p:clrMapOvr>
  <p:transition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10DB3E45-C8DD-4648-8F72-560EBAA009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8735" y="409993"/>
            <a:ext cx="7101824" cy="5487773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8172D5F9-F141-43F6-BF01-13006AD9E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7922964" y="6381328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908A4B97-5A75-42D6-82D3-474B4811835F}" type="slidenum">
              <a:rPr lang="en-AU" smtClean="0">
                <a:solidFill>
                  <a:schemeClr val="bg1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A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499559"/>
      </p:ext>
    </p:extLst>
  </p:cSld>
  <p:clrMapOvr>
    <a:masterClrMapping/>
  </p:clrMapOvr>
  <p:transition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man, blue, riding&#10;&#10;Description automatically generated">
            <a:extLst>
              <a:ext uri="{FF2B5EF4-FFF2-40B4-BE49-F238E27FC236}">
                <a16:creationId xmlns:a16="http://schemas.microsoft.com/office/drawing/2014/main" id="{2312D237-B327-6441-B30F-C72B4DBF863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8735" y="409992"/>
            <a:ext cx="7101824" cy="5487773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8172D5F9-F141-43F6-BF01-13006AD9E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7922964" y="6381328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908A4B97-5A75-42D6-82D3-474B4811835F}" type="slidenum">
              <a:rPr lang="en-AU" smtClean="0">
                <a:solidFill>
                  <a:schemeClr val="bg1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A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788675"/>
      </p:ext>
    </p:extLst>
  </p:cSld>
  <p:clrMapOvr>
    <a:masterClrMapping/>
  </p:clrMapOvr>
  <p:transition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6E232D-7D8E-4143-B618-897CBD30F14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8735" y="409992"/>
            <a:ext cx="7101823" cy="5487772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8172D5F9-F141-43F6-BF01-13006AD9E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7922964" y="6381328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908A4B97-5A75-42D6-82D3-474B4811835F}" type="slidenum">
              <a:rPr lang="en-AU" smtClean="0">
                <a:solidFill>
                  <a:schemeClr val="bg1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A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599973"/>
      </p:ext>
    </p:extLst>
  </p:cSld>
  <p:clrMapOvr>
    <a:masterClrMapping/>
  </p:clrMapOvr>
  <p:transition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51D4015-F13C-4C4E-A14E-054026996C2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8735" y="409992"/>
            <a:ext cx="7101822" cy="5487772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8172D5F9-F141-43F6-BF01-13006AD9E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7922964" y="6381328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908A4B97-5A75-42D6-82D3-474B4811835F}" type="slidenum">
              <a:rPr lang="en-AU" smtClean="0">
                <a:solidFill>
                  <a:schemeClr val="bg1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A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563933"/>
      </p:ext>
    </p:extLst>
  </p:cSld>
  <p:clrMapOvr>
    <a:masterClrMapping/>
  </p:clrMapOvr>
  <p:transition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hAsgvDAkq5M5JbVuAGL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E77bJ88Ey_P.TV56Lt7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KBFys4m0WHyQEmVt2D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hAsgvDAkq5M5JbVuAG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KBFys4m0WHyQEmVt2D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j_4rlJOkKJTOcMC7uk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nCXyIMS0SPdiJFm7Nk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mcor Corporate PowerPoint template">
  <a:themeElements>
    <a:clrScheme name="Amcor">
      <a:dk1>
        <a:sysClr val="windowText" lastClr="000000"/>
      </a:dk1>
      <a:lt1>
        <a:sysClr val="window" lastClr="FFFFFF"/>
      </a:lt1>
      <a:dk2>
        <a:srgbClr val="00303C"/>
      </a:dk2>
      <a:lt2>
        <a:srgbClr val="00A1E0"/>
      </a:lt2>
      <a:accent1>
        <a:srgbClr val="00303C"/>
      </a:accent1>
      <a:accent2>
        <a:srgbClr val="00A1E0"/>
      </a:accent2>
      <a:accent3>
        <a:srgbClr val="009D4F"/>
      </a:accent3>
      <a:accent4>
        <a:srgbClr val="F28B00"/>
      </a:accent4>
      <a:accent5>
        <a:srgbClr val="00A70F"/>
      </a:accent5>
      <a:accent6>
        <a:srgbClr val="D41568"/>
      </a:accent6>
      <a:hlink>
        <a:srgbClr val="00A1E0"/>
      </a:hlink>
      <a:folHlink>
        <a:srgbClr val="00303C"/>
      </a:folHlink>
    </a:clrScheme>
    <a:fontScheme name="Am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ixed Bullets">
  <a:themeElements>
    <a:clrScheme name="Amcor">
      <a:dk1>
        <a:sysClr val="windowText" lastClr="000000"/>
      </a:dk1>
      <a:lt1>
        <a:sysClr val="window" lastClr="FFFFFF"/>
      </a:lt1>
      <a:dk2>
        <a:srgbClr val="00303C"/>
      </a:dk2>
      <a:lt2>
        <a:srgbClr val="00A1E0"/>
      </a:lt2>
      <a:accent1>
        <a:srgbClr val="00303C"/>
      </a:accent1>
      <a:accent2>
        <a:srgbClr val="00A1E0"/>
      </a:accent2>
      <a:accent3>
        <a:srgbClr val="009D4F"/>
      </a:accent3>
      <a:accent4>
        <a:srgbClr val="F28B00"/>
      </a:accent4>
      <a:accent5>
        <a:srgbClr val="00A70F"/>
      </a:accent5>
      <a:accent6>
        <a:srgbClr val="D41568"/>
      </a:accent6>
      <a:hlink>
        <a:srgbClr val="00A1E0"/>
      </a:hlink>
      <a:folHlink>
        <a:srgbClr val="00303C"/>
      </a:folHlink>
    </a:clrScheme>
    <a:fontScheme name="Amc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ARP Template 2012">
  <a:themeElements>
    <a:clrScheme name="Amcor Colour Palette">
      <a:dk1>
        <a:srgbClr val="01395A"/>
      </a:dk1>
      <a:lt1>
        <a:srgbClr val="FFFFFF"/>
      </a:lt1>
      <a:dk2>
        <a:srgbClr val="00A551"/>
      </a:dk2>
      <a:lt2>
        <a:srgbClr val="00A1DE"/>
      </a:lt2>
      <a:accent1>
        <a:srgbClr val="58A618"/>
      </a:accent1>
      <a:accent2>
        <a:srgbClr val="E98300"/>
      </a:accent2>
      <a:accent3>
        <a:srgbClr val="C90062"/>
      </a:accent3>
      <a:accent4>
        <a:srgbClr val="A59D95"/>
      </a:accent4>
      <a:accent5>
        <a:srgbClr val="9A9B9C"/>
      </a:accent5>
      <a:accent6>
        <a:srgbClr val="7FD0EE"/>
      </a:accent6>
      <a:hlink>
        <a:srgbClr val="ABD28B"/>
      </a:hlink>
      <a:folHlink>
        <a:srgbClr val="F4C17F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latin typeface="+mn-lt"/>
            <a:cs typeface="Arial" pitchFamily="34" charset="0"/>
          </a:defRPr>
        </a:defPPr>
      </a:lstStyle>
    </a:txDef>
  </a:objectDefaults>
  <a:extraClrSchemeLst>
    <a:extraClrScheme>
      <a:clrScheme name="2_Amcor_Template_AMC_V3 1">
        <a:dk1>
          <a:srgbClr val="003946"/>
        </a:dk1>
        <a:lt1>
          <a:srgbClr val="FFFFFF"/>
        </a:lt1>
        <a:dk2>
          <a:srgbClr val="00A1DE"/>
        </a:dk2>
        <a:lt2>
          <a:srgbClr val="A59D95"/>
        </a:lt2>
        <a:accent1>
          <a:srgbClr val="003946"/>
        </a:accent1>
        <a:accent2>
          <a:srgbClr val="00A551"/>
        </a:accent2>
        <a:accent3>
          <a:srgbClr val="FFFFFF"/>
        </a:accent3>
        <a:accent4>
          <a:srgbClr val="002F3A"/>
        </a:accent4>
        <a:accent5>
          <a:srgbClr val="AAAEB0"/>
        </a:accent5>
        <a:accent6>
          <a:srgbClr val="009549"/>
        </a:accent6>
        <a:hlink>
          <a:srgbClr val="00A1DE"/>
        </a:hlink>
        <a:folHlink>
          <a:srgbClr val="7FCEE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Amcor_Template_AMC_V3 2">
        <a:dk1>
          <a:srgbClr val="013946"/>
        </a:dk1>
        <a:lt1>
          <a:srgbClr val="FFFFFF"/>
        </a:lt1>
        <a:dk2>
          <a:srgbClr val="00A1DE"/>
        </a:dk2>
        <a:lt2>
          <a:srgbClr val="A59D95"/>
        </a:lt2>
        <a:accent1>
          <a:srgbClr val="58A618"/>
        </a:accent1>
        <a:accent2>
          <a:srgbClr val="009D8B"/>
        </a:accent2>
        <a:accent3>
          <a:srgbClr val="FFFFFF"/>
        </a:accent3>
        <a:accent4>
          <a:srgbClr val="012F3A"/>
        </a:accent4>
        <a:accent5>
          <a:srgbClr val="B4D0AB"/>
        </a:accent5>
        <a:accent6>
          <a:srgbClr val="008E7D"/>
        </a:accent6>
        <a:hlink>
          <a:srgbClr val="E98300"/>
        </a:hlink>
        <a:folHlink>
          <a:srgbClr val="C9006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Application xmlns="http://www.sap.com/cof/ao/powerpoint/application">
  <com.sap.ip.bi.pioneer>
    <Version>4</Version>
    <AAO_Revision>2.3.3.64113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2.xml><?xml version="1.0" encoding="utf-8"?>
<Application xmlns="http://www.sap.com/cof/powerpoint/application">
  <Version>2</Version>
  <Revision>2.3.3.64113</Revision>
</Application>
</file>

<file path=customXml/itemProps1.xml><?xml version="1.0" encoding="utf-8"?>
<ds:datastoreItem xmlns:ds="http://schemas.openxmlformats.org/officeDocument/2006/customXml" ds:itemID="{5B4E7826-3468-4D57-B22E-C0B551C7FB66}">
  <ds:schemaRefs>
    <ds:schemaRef ds:uri="http://www.sap.com/cof/ao/powerpoint/application"/>
  </ds:schemaRefs>
</ds:datastoreItem>
</file>

<file path=customXml/itemProps2.xml><?xml version="1.0" encoding="utf-8"?>
<ds:datastoreItem xmlns:ds="http://schemas.openxmlformats.org/officeDocument/2006/customXml" ds:itemID="{226FCB4E-386C-45CF-90C2-2672A709A624}">
  <ds:schemaRefs>
    <ds:schemaRef ds:uri="http://www.sap.com/cof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mcor Corporate PowerPoint template</Template>
  <TotalTime>0</TotalTime>
  <Words>6</Words>
  <Application>Microsoft Macintosh PowerPoint</Application>
  <PresentationFormat>On-screen Show (4:3)</PresentationFormat>
  <Paragraphs>6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AmcorPro Book</vt:lpstr>
      <vt:lpstr>AmcorPro SemiBold</vt:lpstr>
      <vt:lpstr>Arial</vt:lpstr>
      <vt:lpstr>Calibri</vt:lpstr>
      <vt:lpstr>Candara</vt:lpstr>
      <vt:lpstr>Courier New</vt:lpstr>
      <vt:lpstr>Wingdings</vt:lpstr>
      <vt:lpstr>Amcor Corporate PowerPoint template</vt:lpstr>
      <vt:lpstr>Mixed Bullets</vt:lpstr>
      <vt:lpstr>ARP Template 2012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7-02T01:12:56Z</dcterms:created>
  <dcterms:modified xsi:type="dcterms:W3CDTF">2020-01-09T16:58:33Z</dcterms:modified>
</cp:coreProperties>
</file>